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26" r:id="rId2"/>
  </p:sldMasterIdLst>
  <p:notesMasterIdLst>
    <p:notesMasterId r:id="rId40"/>
  </p:notesMasterIdLst>
  <p:handoutMasterIdLst>
    <p:handoutMasterId r:id="rId41"/>
  </p:handoutMasterIdLst>
  <p:sldIdLst>
    <p:sldId id="1007" r:id="rId3"/>
    <p:sldId id="1010" r:id="rId4"/>
    <p:sldId id="1008" r:id="rId5"/>
    <p:sldId id="1011" r:id="rId6"/>
    <p:sldId id="990" r:id="rId7"/>
    <p:sldId id="991" r:id="rId8"/>
    <p:sldId id="992" r:id="rId9"/>
    <p:sldId id="993" r:id="rId10"/>
    <p:sldId id="998" r:id="rId11"/>
    <p:sldId id="994" r:id="rId12"/>
    <p:sldId id="1014" r:id="rId13"/>
    <p:sldId id="995" r:id="rId14"/>
    <p:sldId id="996" r:id="rId15"/>
    <p:sldId id="1016" r:id="rId16"/>
    <p:sldId id="997" r:id="rId17"/>
    <p:sldId id="1017" r:id="rId18"/>
    <p:sldId id="958" r:id="rId19"/>
    <p:sldId id="1013" r:id="rId20"/>
    <p:sldId id="1018" r:id="rId21"/>
    <p:sldId id="999" r:id="rId22"/>
    <p:sldId id="1019" r:id="rId23"/>
    <p:sldId id="1001" r:id="rId24"/>
    <p:sldId id="1020" r:id="rId25"/>
    <p:sldId id="891" r:id="rId26"/>
    <p:sldId id="1002" r:id="rId27"/>
    <p:sldId id="1021" r:id="rId28"/>
    <p:sldId id="1003" r:id="rId29"/>
    <p:sldId id="1022" r:id="rId30"/>
    <p:sldId id="897" r:id="rId31"/>
    <p:sldId id="1004" r:id="rId32"/>
    <p:sldId id="1023" r:id="rId33"/>
    <p:sldId id="1005" r:id="rId34"/>
    <p:sldId id="1024" r:id="rId35"/>
    <p:sldId id="1006" r:id="rId36"/>
    <p:sldId id="1025" r:id="rId37"/>
    <p:sldId id="1009" r:id="rId38"/>
    <p:sldId id="941" r:id="rId39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47">
          <p15:clr>
            <a:srgbClr val="A4A3A4"/>
          </p15:clr>
        </p15:guide>
        <p15:guide id="2" orient="horz" pos="3918">
          <p15:clr>
            <a:srgbClr val="A4A3A4"/>
          </p15:clr>
        </p15:guide>
        <p15:guide id="3" orient="horz" pos="1159">
          <p15:clr>
            <a:srgbClr val="A4A3A4"/>
          </p15:clr>
        </p15:guide>
        <p15:guide id="4" orient="horz" pos="4156">
          <p15:clr>
            <a:srgbClr val="A4A3A4"/>
          </p15:clr>
        </p15:guide>
        <p15:guide id="5" pos="2880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EDEDED"/>
    <a:srgbClr val="D8D8D8"/>
    <a:srgbClr val="00CC00"/>
    <a:srgbClr val="FF8C08"/>
    <a:srgbClr val="339966"/>
    <a:srgbClr val="66FF33"/>
    <a:srgbClr val="CCFFFF"/>
    <a:srgbClr val="FF66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20225" autoAdjust="0"/>
    <p:restoredTop sz="94127" autoAdjust="0"/>
  </p:normalViewPr>
  <p:slideViewPr>
    <p:cSldViewPr snapToObjects="1">
      <p:cViewPr varScale="1">
        <p:scale>
          <a:sx n="85" d="100"/>
          <a:sy n="85" d="100"/>
        </p:scale>
        <p:origin x="749" y="62"/>
      </p:cViewPr>
      <p:guideLst>
        <p:guide orient="horz" pos="4247"/>
        <p:guide orient="horz" pos="3918"/>
        <p:guide orient="horz" pos="1159"/>
        <p:guide orient="horz" pos="4156"/>
        <p:guide pos="2880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4" d="100"/>
          <a:sy n="64" d="100"/>
        </p:scale>
        <p:origin x="-2760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CE56A3-CE0D-43A0-8814-9EAD3873BAC3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47750" y="836613"/>
            <a:ext cx="4645025" cy="3484562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248" y="4715482"/>
            <a:ext cx="4983191" cy="4466002"/>
          </a:xfrm>
          <a:noFill/>
          <a:ln/>
        </p:spPr>
        <p:txBody>
          <a:bodyPr/>
          <a:lstStyle/>
          <a:p>
            <a:pPr eaLnBrk="1" hangingPunct="1"/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0150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1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36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890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25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041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48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49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18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10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0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817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909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9144000" cy="596900"/>
          </a:xfrm>
          <a:prstGeom prst="rect">
            <a:avLst/>
          </a:prstGeom>
          <a:solidFill>
            <a:srgbClr val="0066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ZA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100221" y="113724"/>
            <a:ext cx="86471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Text: 16-pt. Arial with Wingdings square square bullet 100%</a:t>
            </a:r>
          </a:p>
          <a:p>
            <a:pPr lvl="1"/>
            <a:r>
              <a:rPr lang="en-GB" smtClean="0"/>
              <a:t>Second-level bullet — Arial round</a:t>
            </a:r>
          </a:p>
          <a:p>
            <a:pPr lvl="2"/>
            <a:r>
              <a:rPr lang="en-GB" smtClean="0"/>
              <a:t>Third-level bullet — Arial Em dash</a:t>
            </a:r>
          </a:p>
          <a:p>
            <a:pPr lvl="3"/>
            <a:r>
              <a:rPr lang="en-GB" smtClean="0"/>
              <a:t>Fourth-level bullet — Arial Em dash</a:t>
            </a:r>
          </a:p>
          <a:p>
            <a:pPr lvl="4"/>
            <a:r>
              <a:rPr lang="en-GB" smtClean="0"/>
              <a:t>xx</a:t>
            </a:r>
          </a:p>
          <a:p>
            <a:pPr lvl="0"/>
            <a:r>
              <a:rPr lang="en-GB" smtClean="0"/>
              <a:t>Text: 16 pt. Arial, plain text sentence case</a:t>
            </a:r>
          </a:p>
          <a:p>
            <a:pPr lvl="1"/>
            <a:r>
              <a:rPr lang="en-GB" smtClean="0"/>
              <a:t>Second-level bullet</a:t>
            </a:r>
          </a:p>
          <a:p>
            <a:pPr lvl="2"/>
            <a:r>
              <a:rPr lang="en-GB" smtClean="0"/>
              <a:t>Third-level bullet</a:t>
            </a:r>
          </a:p>
          <a:p>
            <a:pPr lvl="3"/>
            <a:r>
              <a:rPr lang="en-GB" smtClean="0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810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5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3270068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jmumaw\Desktop\DCS\Pics\Logo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70038" y="609600"/>
            <a:ext cx="5473700" cy="179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07365" y="2784699"/>
            <a:ext cx="8520112" cy="3656386"/>
          </a:xfrm>
          <a:ln/>
        </p:spPr>
        <p:txBody>
          <a:bodyPr/>
          <a:lstStyle/>
          <a:p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Presentation on</a:t>
            </a:r>
            <a:r>
              <a:rPr lang="en-US" sz="3200" dirty="0">
                <a:solidFill>
                  <a:srgbClr val="FF0000"/>
                </a:solidFill>
              </a:rPr>
              <a:t/>
            </a:r>
            <a:br>
              <a:rPr lang="en-US" sz="3200" dirty="0">
                <a:solidFill>
                  <a:srgbClr val="FF0000"/>
                </a:solidFill>
              </a:rPr>
            </a:br>
            <a:r>
              <a:rPr lang="en-US" sz="3200" dirty="0" smtClean="0">
                <a:solidFill>
                  <a:srgbClr val="FF0000"/>
                </a:solidFill>
              </a:rPr>
              <a:t>DCS 2</a:t>
            </a:r>
            <a:r>
              <a:rPr lang="en-US" sz="3200" baseline="30000" dirty="0" smtClean="0">
                <a:solidFill>
                  <a:srgbClr val="FF0000"/>
                </a:solidFill>
              </a:rPr>
              <a:t>nd</a:t>
            </a:r>
            <a:r>
              <a:rPr lang="en-US" sz="3200" dirty="0" smtClean="0">
                <a:solidFill>
                  <a:srgbClr val="FF0000"/>
                </a:solidFill>
              </a:rPr>
              <a:t> Quarter Actual Performance Report (2016/2017)</a:t>
            </a: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2800" dirty="0" smtClean="0">
                <a:solidFill>
                  <a:srgbClr val="FF0000"/>
                </a:solidFill>
              </a:rPr>
              <a:t/>
            </a:r>
            <a:br>
              <a:rPr lang="en-US" sz="2800" dirty="0" smtClean="0">
                <a:solidFill>
                  <a:srgbClr val="FF0000"/>
                </a:solidFill>
              </a:rPr>
            </a:br>
            <a:r>
              <a:rPr lang="en-US" sz="2800" b="0" dirty="0" smtClean="0">
                <a:latin typeface="Century Gothic" panose="020B0502020202020204" pitchFamily="34" charset="0"/>
              </a:rPr>
              <a:t/>
            </a:r>
            <a:br>
              <a:rPr lang="en-US" sz="2800" b="0" dirty="0" smtClean="0">
                <a:latin typeface="Century Gothic" panose="020B0502020202020204" pitchFamily="34" charset="0"/>
              </a:rPr>
            </a:br>
            <a:r>
              <a:rPr lang="en-US" sz="2800" b="0" dirty="0">
                <a:latin typeface="Century Gothic" panose="020B0502020202020204" pitchFamily="34" charset="0"/>
              </a:rPr>
              <a:t/>
            </a:r>
            <a:br>
              <a:rPr lang="en-US" sz="2800" b="0" dirty="0">
                <a:latin typeface="Century Gothic" panose="020B0502020202020204" pitchFamily="34" charset="0"/>
              </a:rPr>
            </a:br>
            <a:r>
              <a:rPr lang="en-GB" sz="2800" b="0" dirty="0" smtClean="0">
                <a:latin typeface="Century Gothic" panose="020B0502020202020204" pitchFamily="34" charset="0"/>
              </a:rPr>
              <a:t>November   </a:t>
            </a:r>
            <a:r>
              <a:rPr lang="en-GB" sz="2800" b="0" dirty="0">
                <a:latin typeface="Century Gothic" panose="020B0502020202020204" pitchFamily="34" charset="0"/>
              </a:rPr>
              <a:t>2016</a:t>
            </a:r>
            <a:br>
              <a:rPr lang="en-GB" sz="2800" b="0" dirty="0">
                <a:latin typeface="Century Gothic" panose="020B0502020202020204" pitchFamily="34" charset="0"/>
              </a:rPr>
            </a:br>
            <a:endParaRPr lang="en-GB" sz="2800" b="0" dirty="0">
              <a:latin typeface="Century Gothic" panose="020B0502020202020204" pitchFamily="34" charset="0"/>
            </a:endParaRPr>
          </a:p>
        </p:txBody>
      </p:sp>
      <p:pic>
        <p:nvPicPr>
          <p:cNvPr id="5" name="Picture 4" descr="Slide1 Template_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65"/>
            <a:ext cx="91440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503330" y="1500296"/>
            <a:ext cx="575824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RESENTATION ON Q2 PERFORMANCE</a:t>
            </a:r>
          </a:p>
          <a:p>
            <a:pPr algn="ctr"/>
            <a:endParaRPr lang="en-US" sz="2800" b="1" kern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/>
            <a:r>
              <a:rPr lang="en-US" sz="28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XX BRANCH</a:t>
            </a:r>
            <a:endParaRPr lang="en-US" sz="28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86795" y="3912513"/>
            <a:ext cx="35846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/>
              </a:rPr>
              <a:t>XX </a:t>
            </a:r>
            <a:r>
              <a:rPr lang="en-GB" sz="28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/>
              </a:rPr>
              <a:t>NOVEMBER 2020</a:t>
            </a:r>
            <a:endParaRPr lang="en-US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732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387212"/>
              </p:ext>
            </p:extLst>
          </p:nvPr>
        </p:nvGraphicFramePr>
        <p:xfrm>
          <a:off x="152400" y="838200"/>
          <a:ext cx="8534401" cy="4986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786"/>
                <a:gridCol w="925154"/>
                <a:gridCol w="940232"/>
                <a:gridCol w="1207589"/>
                <a:gridCol w="901108"/>
                <a:gridCol w="861807"/>
                <a:gridCol w="1054348"/>
                <a:gridCol w="1478377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2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INCARCE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: SECURITY OPERATIONS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55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214117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411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4117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38091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0071665"/>
              </p:ext>
            </p:extLst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814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725838"/>
              </p:ext>
            </p:extLst>
          </p:nvPr>
        </p:nvGraphicFramePr>
        <p:xfrm>
          <a:off x="152400" y="1063284"/>
          <a:ext cx="8610600" cy="43011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195"/>
                <a:gridCol w="933414"/>
                <a:gridCol w="948626"/>
                <a:gridCol w="1218371"/>
                <a:gridCol w="909154"/>
                <a:gridCol w="869501"/>
                <a:gridCol w="1063762"/>
                <a:gridCol w="1491577"/>
              </a:tblGrid>
              <a:tr h="5369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2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INCARCE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FACILITIES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55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40207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471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3296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3586878"/>
              </p:ext>
            </p:extLst>
          </p:nvPr>
        </p:nvGraphicFramePr>
        <p:xfrm>
          <a:off x="152400" y="1063284"/>
          <a:ext cx="8686800" cy="27467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604"/>
                <a:gridCol w="941674"/>
                <a:gridCol w="957021"/>
                <a:gridCol w="1229153"/>
                <a:gridCol w="917199"/>
                <a:gridCol w="877196"/>
                <a:gridCol w="1073176"/>
                <a:gridCol w="1504777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2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INCARCE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REMAND DETENTION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55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40207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67906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758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9167149"/>
              </p:ext>
            </p:extLst>
          </p:nvPr>
        </p:nvGraphicFramePr>
        <p:xfrm>
          <a:off x="152400" y="1063284"/>
          <a:ext cx="8686800" cy="43011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604"/>
                <a:gridCol w="941674"/>
                <a:gridCol w="957021"/>
                <a:gridCol w="1229153"/>
                <a:gridCol w="917199"/>
                <a:gridCol w="877196"/>
                <a:gridCol w="1073176"/>
                <a:gridCol w="1504777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2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INCARCE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OFFENDER MANAGEMENT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55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402079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471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824387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4089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6063" y="2514600"/>
            <a:ext cx="8647111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</a:t>
            </a:r>
            <a:r>
              <a:rPr lang="en-US" sz="7200" b="1" kern="0" dirty="0" smtClean="0">
                <a:solidFill>
                  <a:srgbClr val="000000"/>
                </a:solidFill>
                <a:latin typeface="Arial"/>
                <a:cs typeface="Arial"/>
              </a:rPr>
              <a:t>3: REHABILITATION</a:t>
            </a:r>
            <a:endParaRPr lang="en-US" sz="7200" b="1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215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141819"/>
              </p:ext>
            </p:extLst>
          </p:nvPr>
        </p:nvGraphicFramePr>
        <p:xfrm>
          <a:off x="228599" y="914400"/>
          <a:ext cx="8534398" cy="5776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7433"/>
                <a:gridCol w="959817"/>
                <a:gridCol w="959817"/>
                <a:gridCol w="971691"/>
                <a:gridCol w="901108"/>
                <a:gridCol w="861806"/>
                <a:gridCol w="1054348"/>
                <a:gridCol w="1478378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3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HABILIT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PROGRAMME: CORRECTIONAL PROGRAMMES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69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40207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471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81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>
                <a:solidFill>
                  <a:srgbClr val="FFFFFF"/>
                </a:solidFill>
              </a:rPr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276846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SOURCE OF UNDER-ACHIEVEMENT AT </a:t>
            </a:r>
            <a:r>
              <a:rPr lang="en-GB" sz="2400" b="1" kern="0" dirty="0" smtClean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REGIONAL LEVEL</a:t>
            </a:r>
            <a:endParaRPr lang="en-ZA" sz="2400" b="1" kern="0" dirty="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186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BE75937-E151-4B2B-8C64-9A22524FD06C}"/>
              </a:ext>
            </a:extLst>
          </p:cNvPr>
          <p:cNvSpPr/>
          <p:nvPr/>
        </p:nvSpPr>
        <p:spPr>
          <a:xfrm>
            <a:off x="0" y="4076700"/>
            <a:ext cx="9144000" cy="8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9DE8BFE-FE5B-4B85-95C6-4BC24BEA18CB}"/>
              </a:ext>
            </a:extLst>
          </p:cNvPr>
          <p:cNvSpPr/>
          <p:nvPr/>
        </p:nvSpPr>
        <p:spPr>
          <a:xfrm>
            <a:off x="1725976" y="-2752"/>
            <a:ext cx="89154" cy="68607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43C31C0-A678-488B-954D-3C31F9292F64}"/>
              </a:ext>
            </a:extLst>
          </p:cNvPr>
          <p:cNvSpPr/>
          <p:nvPr/>
        </p:nvSpPr>
        <p:spPr>
          <a:xfrm>
            <a:off x="1822704" y="-8966"/>
            <a:ext cx="7321296" cy="4078939"/>
          </a:xfrm>
          <a:prstGeom prst="rect">
            <a:avLst/>
          </a:prstGeom>
          <a:solidFill>
            <a:srgbClr val="84D684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B460027-1BF7-4B04-A53C-BB6E7681BBF8}"/>
              </a:ext>
            </a:extLst>
          </p:cNvPr>
          <p:cNvSpPr/>
          <p:nvPr/>
        </p:nvSpPr>
        <p:spPr>
          <a:xfrm>
            <a:off x="1815130" y="4169150"/>
            <a:ext cx="7321296" cy="2688849"/>
          </a:xfrm>
          <a:prstGeom prst="rect">
            <a:avLst/>
          </a:prstGeom>
          <a:solidFill>
            <a:srgbClr val="BCEABC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58715" y="415169"/>
            <a:ext cx="6677123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PERFORMANCE TARGETS NOT ACHIE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181127" y="4286250"/>
            <a:ext cx="5888499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QUARTER 2</a:t>
            </a:r>
          </a:p>
        </p:txBody>
      </p:sp>
    </p:spTree>
    <p:extLst>
      <p:ext uri="{BB962C8B-B14F-4D97-AF65-F5344CB8AC3E}">
        <p14:creationId xmlns:p14="http://schemas.microsoft.com/office/powerpoint/2010/main" val="4021134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573659"/>
              </p:ext>
            </p:extLst>
          </p:nvPr>
        </p:nvGraphicFramePr>
        <p:xfrm>
          <a:off x="228599" y="914400"/>
          <a:ext cx="8534398" cy="5776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7433"/>
                <a:gridCol w="959817"/>
                <a:gridCol w="959817"/>
                <a:gridCol w="971691"/>
                <a:gridCol w="901108"/>
                <a:gridCol w="861806"/>
                <a:gridCol w="1054348"/>
                <a:gridCol w="1478378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3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HABILIT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PROGRAMME: OFFENDER DEVELOPMENT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69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40207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4471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 smtClean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819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56726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SOURCE OF UNDER-ACHIEVEMENT AT </a:t>
            </a:r>
            <a:r>
              <a:rPr lang="en-GB" sz="2400" b="1" kern="0" dirty="0" smtClean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REGIONAL LEVEL</a:t>
            </a:r>
            <a:endParaRPr lang="en-ZA" sz="2400" b="1" kern="0" dirty="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757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719786"/>
              </p:ext>
            </p:extLst>
          </p:nvPr>
        </p:nvGraphicFramePr>
        <p:xfrm>
          <a:off x="228599" y="914400"/>
          <a:ext cx="8534401" cy="5197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895"/>
                <a:gridCol w="976717"/>
                <a:gridCol w="976717"/>
                <a:gridCol w="988800"/>
                <a:gridCol w="916973"/>
                <a:gridCol w="876980"/>
                <a:gridCol w="1072912"/>
                <a:gridCol w="1504407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3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HABILITATION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</a:t>
                      </a:r>
                      <a:r>
                        <a:rPr lang="en-US" sz="1600" b="1" kern="1200" dirty="0" smtClean="0">
                          <a:solidFill>
                            <a:srgbClr val="006600"/>
                          </a:solidFill>
                          <a:latin typeface="+mn-lt"/>
                          <a:ea typeface="+mn-ea"/>
                          <a:cs typeface="+mn-cs"/>
                        </a:rPr>
                        <a:t>PSYCHOLOGICAL, SOCIAL WORK AND SPIRITUAL SERVICE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69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58224">
                <a:tc>
                  <a:txBody>
                    <a:bodyPr/>
                    <a:lstStyle/>
                    <a:p>
                      <a:pPr algn="l" fontAlgn="t"/>
                      <a:endParaRPr lang="en-US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200">
                <a:tc>
                  <a:txBody>
                    <a:bodyPr/>
                    <a:lstStyle/>
                    <a:p>
                      <a:pPr algn="l" fontAlgn="t"/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00819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991615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852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6063" y="2590800"/>
            <a:ext cx="8647111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</a:t>
            </a:r>
            <a:r>
              <a:rPr lang="en-US" sz="7200" b="1" kern="0" dirty="0" smtClean="0">
                <a:solidFill>
                  <a:srgbClr val="000000"/>
                </a:solidFill>
                <a:latin typeface="Arial"/>
                <a:cs typeface="Arial"/>
              </a:rPr>
              <a:t>4: CARE</a:t>
            </a:r>
            <a:endParaRPr lang="en-US" sz="7200" b="1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714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363682"/>
              </p:ext>
            </p:extLst>
          </p:nvPr>
        </p:nvGraphicFramePr>
        <p:xfrm>
          <a:off x="76199" y="1143000"/>
          <a:ext cx="8763003" cy="4413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3598"/>
                <a:gridCol w="1002879"/>
                <a:gridCol w="1002879"/>
                <a:gridCol w="1015285"/>
                <a:gridCol w="941536"/>
                <a:gridCol w="900471"/>
                <a:gridCol w="1101651"/>
                <a:gridCol w="1544704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4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CARE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HEALTH AND HYGIENE SERVICES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12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58224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6405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85399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983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83485"/>
              </p:ext>
            </p:extLst>
          </p:nvPr>
        </p:nvGraphicFramePr>
        <p:xfrm>
          <a:off x="76199" y="914400"/>
          <a:ext cx="8915401" cy="29876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5400"/>
                <a:gridCol w="1020320"/>
                <a:gridCol w="1020320"/>
                <a:gridCol w="1032942"/>
                <a:gridCol w="957910"/>
                <a:gridCol w="916131"/>
                <a:gridCol w="1120810"/>
                <a:gridCol w="1571568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4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CARE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NUTRITIONAL SERVICES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7712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600819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3572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7427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6063" y="1752600"/>
            <a:ext cx="8647111" cy="30839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</a:t>
            </a:r>
            <a:r>
              <a:rPr lang="en-US" sz="7200" b="1" kern="0" dirty="0" smtClean="0">
                <a:solidFill>
                  <a:srgbClr val="000000"/>
                </a:solidFill>
                <a:latin typeface="Arial"/>
                <a:cs typeface="Arial"/>
              </a:rPr>
              <a:t>5: SOCIAL </a:t>
            </a: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REINTEGRATION </a:t>
            </a:r>
          </a:p>
        </p:txBody>
      </p:sp>
    </p:spTree>
    <p:extLst>
      <p:ext uri="{BB962C8B-B14F-4D97-AF65-F5344CB8AC3E}">
        <p14:creationId xmlns:p14="http://schemas.microsoft.com/office/powerpoint/2010/main" val="283725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Notes to the presentation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61303" y="1135380"/>
            <a:ext cx="8512175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 smtClean="0"/>
              <a:t>Regions to focus on targets not achieved for Quarter </a:t>
            </a:r>
            <a:r>
              <a:rPr lang="en-ZA" dirty="0" smtClean="0"/>
              <a:t>2 (cumulatively </a:t>
            </a:r>
            <a:r>
              <a:rPr lang="en-ZA" dirty="0" smtClean="0"/>
              <a:t>since Q1)</a:t>
            </a:r>
          </a:p>
          <a:p>
            <a:endParaRPr lang="en-ZA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Reports should indicate </a:t>
            </a:r>
            <a:r>
              <a:rPr lang="en-ZA" dirty="0"/>
              <a:t>what was planned against what was not achieved</a:t>
            </a:r>
            <a:endParaRPr lang="en-GB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/>
              <a:t>Include under achievement at source </a:t>
            </a:r>
            <a:r>
              <a:rPr lang="en-ZA" dirty="0" smtClean="0"/>
              <a:t>(Regions)</a:t>
            </a:r>
            <a:endParaRPr lang="en-ZA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Identify root causes of the under achievement and associated risks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Explain the corrective actions required in a </a:t>
            </a:r>
            <a:r>
              <a:rPr lang="en-ZA" dirty="0" err="1" smtClean="0"/>
              <a:t>projectised</a:t>
            </a:r>
            <a:r>
              <a:rPr lang="en-ZA" dirty="0" smtClean="0"/>
              <a:t> approach (i.e. what needs to be done, when and by whom, when is the target expected to be achieved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dirty="0" smtClean="0"/>
              <a:t>What are the long term solutions to ensure that the problems identified do not reoccur </a:t>
            </a:r>
          </a:p>
        </p:txBody>
      </p:sp>
    </p:spTree>
    <p:extLst>
      <p:ext uri="{BB962C8B-B14F-4D97-AF65-F5344CB8AC3E}">
        <p14:creationId xmlns:p14="http://schemas.microsoft.com/office/powerpoint/2010/main" val="26590501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105257"/>
              </p:ext>
            </p:extLst>
          </p:nvPr>
        </p:nvGraphicFramePr>
        <p:xfrm>
          <a:off x="76199" y="1143000"/>
          <a:ext cx="8686801" cy="4413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2697"/>
                <a:gridCol w="994158"/>
                <a:gridCol w="994158"/>
                <a:gridCol w="1006457"/>
                <a:gridCol w="933348"/>
                <a:gridCol w="892640"/>
                <a:gridCol w="1092071"/>
                <a:gridCol w="1531272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5: SOCIAL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INTEG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SUPERVISION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12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58224">
                <a:tc>
                  <a:txBody>
                    <a:bodyPr/>
                    <a:lstStyle/>
                    <a:p>
                      <a:pPr algn="l" fontAlgn="t"/>
                      <a:endParaRPr 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6405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0590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395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944764"/>
              </p:ext>
            </p:extLst>
          </p:nvPr>
        </p:nvGraphicFramePr>
        <p:xfrm>
          <a:off x="109868" y="914400"/>
          <a:ext cx="8729332" cy="533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8501"/>
                <a:gridCol w="869306"/>
                <a:gridCol w="999025"/>
                <a:gridCol w="1011384"/>
                <a:gridCol w="937918"/>
                <a:gridCol w="897011"/>
                <a:gridCol w="1097418"/>
                <a:gridCol w="1538769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5: SOCIAL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INTEG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COMMUNITY REINTEGRATION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912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58224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kern="1200" dirty="0" smtClean="0">
                        <a:solidFill>
                          <a:schemeClr val="bg2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6379">
                <a:tc>
                  <a:txBody>
                    <a:bodyPr/>
                    <a:lstStyle/>
                    <a:p>
                      <a:pPr marL="0" marR="0" lvl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0181">
                <a:tc>
                  <a:txBody>
                    <a:bodyPr/>
                    <a:lstStyle/>
                    <a:p>
                      <a:pPr marL="0" marR="0" lvl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129714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47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254177"/>
              </p:ext>
            </p:extLst>
          </p:nvPr>
        </p:nvGraphicFramePr>
        <p:xfrm>
          <a:off x="123317" y="838200"/>
          <a:ext cx="8868284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0444"/>
                <a:gridCol w="883143"/>
                <a:gridCol w="1014928"/>
                <a:gridCol w="1027483"/>
                <a:gridCol w="952848"/>
                <a:gridCol w="911289"/>
                <a:gridCol w="1114887"/>
                <a:gridCol w="1563262"/>
              </a:tblGrid>
              <a:tr h="308316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5: SOCIAL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REINTEGRATION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rgbClr val="006600"/>
                          </a:solidFill>
                          <a:latin typeface="+mn-lt"/>
                          <a:ea typeface="+mn-ea"/>
                          <a:cs typeface="+mn-cs"/>
                        </a:rPr>
                        <a:t>SUB PROGRAMME: OFFICE ACCOMMODATION: COMMUNITY CORRECTIONS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912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158224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295174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61926" y="76200"/>
            <a:ext cx="8836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</a:t>
            </a:r>
            <a:r>
              <a:rPr lang="en-GB" sz="24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F UNDER-ACHIEVEMENT AT </a:t>
            </a:r>
            <a:r>
              <a:rPr lang="en-GB" sz="24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  <a:endParaRPr lang="en-ZA" sz="24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88921" y="874200"/>
          <a:ext cx="8709402" cy="3457213"/>
        </p:xfrm>
        <a:graphic>
          <a:graphicData uri="http://schemas.openxmlformats.org/drawingml/2006/table">
            <a:tbl>
              <a:tblPr firstRow="1" bandRow="1"/>
              <a:tblGrid>
                <a:gridCol w="13112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82798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5156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6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8174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17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37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mtClean="0"/>
              <a:t>SUMMARY OF IMPROVEMENTS FOR Q2</a:t>
            </a:r>
            <a:endParaRPr lang="en-GB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SUMMARY OF IMPROVEMENTS FOR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9493421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 smtClean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  <a:endParaRPr lang="en-US" sz="4000" dirty="0">
              <a:solidFill>
                <a:prstClr val="white"/>
              </a:solidFill>
              <a:latin typeface="Calibri"/>
              <a:cs typeface="Arial Blac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4800" y="2279087"/>
            <a:ext cx="8516937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r>
              <a:rPr lang="en-US" sz="7200" b="1" kern="0" dirty="0">
                <a:solidFill>
                  <a:srgbClr val="000000"/>
                </a:solidFill>
                <a:latin typeface="Arial"/>
                <a:cs typeface="Arial"/>
              </a:rPr>
              <a:t>PROGRAMME </a:t>
            </a:r>
            <a:r>
              <a:rPr lang="en-US" sz="7200" b="1" kern="0" dirty="0" smtClean="0">
                <a:solidFill>
                  <a:srgbClr val="000000"/>
                </a:solidFill>
                <a:latin typeface="Arial"/>
                <a:cs typeface="Arial"/>
              </a:rPr>
              <a:t>1: ADMINISTRATION</a:t>
            </a:r>
            <a:endParaRPr lang="en-US" sz="7200" b="1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7964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8789051"/>
              </p:ext>
            </p:extLst>
          </p:nvPr>
        </p:nvGraphicFramePr>
        <p:xfrm>
          <a:off x="152400" y="914400"/>
          <a:ext cx="8762999" cy="47726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7104"/>
                <a:gridCol w="943646"/>
                <a:gridCol w="959025"/>
                <a:gridCol w="1231725"/>
                <a:gridCol w="919119"/>
                <a:gridCol w="879032"/>
                <a:gridCol w="1075422"/>
                <a:gridCol w="1507926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PROGRAMME: HUMAN RESOURCES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883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70693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693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693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693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693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425278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6717526"/>
              </p:ext>
            </p:extLst>
          </p:nvPr>
        </p:nvGraphicFramePr>
        <p:xfrm>
          <a:off x="152400" y="838200"/>
          <a:ext cx="8721912" cy="5363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5500"/>
                <a:gridCol w="963799"/>
                <a:gridCol w="979506"/>
                <a:gridCol w="1258031"/>
                <a:gridCol w="938749"/>
                <a:gridCol w="897806"/>
                <a:gridCol w="1098390"/>
                <a:gridCol w="1540131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FINANCE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883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788963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7382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7382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</a:tr>
              <a:tr h="667382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7382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</a:tr>
              <a:tr h="667382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-228600" y="125004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88965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9271613"/>
              </p:ext>
            </p:extLst>
          </p:nvPr>
        </p:nvGraphicFramePr>
        <p:xfrm>
          <a:off x="152400" y="1063285"/>
          <a:ext cx="8610600" cy="5211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195"/>
                <a:gridCol w="933414"/>
                <a:gridCol w="948626"/>
                <a:gridCol w="1218371"/>
                <a:gridCol w="909154"/>
                <a:gridCol w="869501"/>
                <a:gridCol w="1063762"/>
                <a:gridCol w="1491577"/>
              </a:tblGrid>
              <a:tr h="557813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INFORMATION TECHNOLOGY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4589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8178"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  <a:endParaRPr lang="en-US" alt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74705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666603"/>
              </p:ext>
            </p:extLst>
          </p:nvPr>
        </p:nvGraphicFramePr>
        <p:xfrm>
          <a:off x="228600" y="838200"/>
          <a:ext cx="8686800" cy="34325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603"/>
                <a:gridCol w="941674"/>
                <a:gridCol w="957022"/>
                <a:gridCol w="1229153"/>
                <a:gridCol w="917199"/>
                <a:gridCol w="895644"/>
                <a:gridCol w="1163411"/>
                <a:gridCol w="1396094"/>
              </a:tblGrid>
              <a:tr h="38100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1: </a:t>
                      </a:r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ADMINIST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 JICS</a:t>
                      </a:r>
                      <a:endParaRPr lang="en-US" sz="1600" dirty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0316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</a:t>
                      </a: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20/21 </a:t>
                      </a:r>
                      <a:endParaRPr lang="en-US" sz="12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783079">
                <a:tc>
                  <a:txBody>
                    <a:bodyPr/>
                    <a:lstStyle/>
                    <a:p>
                      <a:pPr marL="0" algn="l" defTabSz="914331" rtl="0" eaLnBrk="1" fontAlgn="t" latinLnBrk="0" hangingPunct="1"/>
                      <a:endParaRPr lang="en-US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02912" cy="387798"/>
          </a:xfrm>
          <a:noFill/>
        </p:spPr>
        <p:txBody>
          <a:bodyPr/>
          <a:lstStyle/>
          <a:p>
            <a:pPr algn="ctr"/>
            <a:r>
              <a:rPr lang="en-US" altLang="en-US" dirty="0" smtClean="0"/>
              <a:t>INDICATORS NOT ACHIEVED DURING </a:t>
            </a:r>
            <a:r>
              <a:rPr lang="en-US" altLang="en-US" dirty="0" smtClean="0"/>
              <a:t>2020/21 – Q2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155073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2092325"/>
            <a:ext cx="9144000" cy="1993900"/>
          </a:xfrm>
          <a:noFill/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7200" b="1" dirty="0">
                <a:solidFill>
                  <a:srgbClr val="000000"/>
                </a:solidFill>
                <a:latin typeface="Arial"/>
                <a:cs typeface="Arial"/>
              </a:rPr>
              <a:t>PROGRAMME 2: INCARCERATION</a:t>
            </a:r>
          </a:p>
        </p:txBody>
      </p:sp>
    </p:spTree>
    <p:extLst>
      <p:ext uri="{BB962C8B-B14F-4D97-AF65-F5344CB8AC3E}">
        <p14:creationId xmlns:p14="http://schemas.microsoft.com/office/powerpoint/2010/main" val="172908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68</TotalTime>
  <Words>1069</Words>
  <Application>Microsoft Office PowerPoint</Application>
  <PresentationFormat>On-screen Show (4:3)</PresentationFormat>
  <Paragraphs>305</Paragraphs>
  <Slides>3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7</vt:i4>
      </vt:variant>
    </vt:vector>
  </HeadingPairs>
  <TitlesOfParts>
    <vt:vector size="48" baseType="lpstr">
      <vt:lpstr>Arial Unicode MS</vt:lpstr>
      <vt:lpstr>Arial</vt:lpstr>
      <vt:lpstr>Arial Black</vt:lpstr>
      <vt:lpstr>Calibri</vt:lpstr>
      <vt:lpstr>Calibri Light</vt:lpstr>
      <vt:lpstr>Century Gothic</vt:lpstr>
      <vt:lpstr>Consolas</vt:lpstr>
      <vt:lpstr>Verdana</vt:lpstr>
      <vt:lpstr>Wingdings</vt:lpstr>
      <vt:lpstr>3_Blank</vt:lpstr>
      <vt:lpstr>Office Theme</vt:lpstr>
      <vt:lpstr> Presentation on DCS 2nd Quarter Actual Performance Report (2016/2017)    November   2016 </vt:lpstr>
      <vt:lpstr>PowerPoint Presentation</vt:lpstr>
      <vt:lpstr>Notes to the presentation</vt:lpstr>
      <vt:lpstr>PowerPoint Presentation</vt:lpstr>
      <vt:lpstr>PowerPoint Presentation</vt:lpstr>
      <vt:lpstr>PowerPoint Presentation</vt:lpstr>
      <vt:lpstr>PowerPoint Presentation</vt:lpstr>
      <vt:lpstr>INDICATORS NOT ACHIEVED DURING 2020/21 – Q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 OF IMPROVEMENTS FOR Q2</vt:lpstr>
      <vt:lpstr>PowerPoint Presentation</vt:lpstr>
    </vt:vector>
  </TitlesOfParts>
  <Company>Ac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Anbigay Naicker</cp:lastModifiedBy>
  <cp:revision>3918</cp:revision>
  <cp:lastPrinted>2020-10-05T09:22:03Z</cp:lastPrinted>
  <dcterms:created xsi:type="dcterms:W3CDTF">2011-05-16T12:44:01Z</dcterms:created>
  <dcterms:modified xsi:type="dcterms:W3CDTF">2020-10-05T09:44:18Z</dcterms:modified>
</cp:coreProperties>
</file>